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7"/>
  </p:notesMasterIdLst>
  <p:sldIdLst>
    <p:sldId id="256" r:id="rId2"/>
    <p:sldId id="259" r:id="rId3"/>
    <p:sldId id="264" r:id="rId4"/>
    <p:sldId id="265" r:id="rId5"/>
    <p:sldId id="261" r:id="rId6"/>
    <p:sldId id="266" r:id="rId7"/>
    <p:sldId id="267" r:id="rId8"/>
    <p:sldId id="262" r:id="rId9"/>
    <p:sldId id="268" r:id="rId10"/>
    <p:sldId id="269" r:id="rId11"/>
    <p:sldId id="270" r:id="rId12"/>
    <p:sldId id="271" r:id="rId13"/>
    <p:sldId id="272" r:id="rId14"/>
    <p:sldId id="273" r:id="rId15"/>
    <p:sldId id="263" r:id="rId16"/>
  </p:sldIdLst>
  <p:sldSz cx="12192000" cy="6858000"/>
  <p:notesSz cx="6858000" cy="9144000"/>
  <p:custDataLst>
    <p:tags r:id="rId1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60"/>
  </p:normalViewPr>
  <p:slideViewPr>
    <p:cSldViewPr snapToGrid="0">
      <p:cViewPr varScale="1">
        <p:scale>
          <a:sx n="114" d="100"/>
          <a:sy n="114" d="100"/>
        </p:scale>
        <p:origin x="414" y="12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1CE42D1-613D-4332-9A19-705EC028E1B3}" type="datetimeFigureOut">
              <a:rPr lang="en-GB" smtClean="0"/>
              <a:t>17/09/2022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641BD37-0194-4D45-8D40-6B5080FA440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471415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77F839-C01D-5A81-594E-725C6973DCE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9E5DE9F-FA2A-F89B-960A-54D5626EC9A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3917DD9-5900-B247-1D93-BEC3D01EFFF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977988-535B-44F8-BD1E-43F007484824}" type="datetime1">
              <a:rPr lang="en-GB" smtClean="0"/>
              <a:t>17/09/2022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17196EE-FB74-9986-E420-3B9292AFE7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EAAE0A0-023B-A937-5554-7C76F26F81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47C1C1-E03C-4710-B8F6-102B1D3AFD6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5526677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08409E-6970-7CB6-7E58-B0F8AC27CF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15BE440-E79C-EE3A-627E-1EECE96FA8D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25C3741-C94D-B3D6-0B0D-217B8A4DE4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6434D6-22B4-48DB-9FB1-4637EED94B6F}" type="datetime1">
              <a:rPr lang="en-GB" smtClean="0"/>
              <a:t>17/09/2022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4C5AFE-530F-E1DE-6EBA-F9D19BEA23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49A82-7901-9C95-8487-9BC5214086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47C1C1-E03C-4710-B8F6-102B1D3AFD6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9795824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A2FEA1F8-E784-B918-3FB5-1872009B9D2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73D3E07-C9CE-8420-61F5-D8062B4C920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D3522E5-2531-2530-6FBB-2E9E0A6B03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5BA85F-474D-4BB0-935A-768BAF8A0B95}" type="datetime1">
              <a:rPr lang="en-GB" smtClean="0"/>
              <a:t>17/09/2022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E246E9D-1BA2-5FF6-AD86-24034812CE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4989AAC-E447-B7C1-C058-30BF9B4254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47C1C1-E03C-4710-B8F6-102B1D3AFD6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3785436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14537B-9A71-3232-94CB-6AD06F4F43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D815C24-9D69-9C68-29A7-5639652F709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EAF81D1-70CE-0EDC-1310-3B9D30BD5D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610176-91FD-46B9-8ACB-34F1364631FA}" type="datetime1">
              <a:rPr lang="en-GB" smtClean="0"/>
              <a:t>17/09/2022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6788EAF-5FE1-7154-EF8D-E6963E4F70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AE84985-1360-7752-9BEC-1AF33DDD92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47C1C1-E03C-4710-B8F6-102B1D3AFD6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2732159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50DAF10-5945-FFDE-16EC-B516C3B022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ECBDF2E-9A9F-029F-49D1-AB634A944DE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AA285A7-F207-6541-980A-37C77C56C1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2D1649-4550-40D4-8BCD-C5FB14D08FC2}" type="datetime1">
              <a:rPr lang="en-GB" smtClean="0"/>
              <a:t>17/09/2022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9E4AA50-CFB0-D273-C5A0-47FE39FD58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B62984D-AAD7-537C-D39F-1554F9CFCF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47C1C1-E03C-4710-B8F6-102B1D3AFD6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756907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FBB04C-6E5E-84BD-8BB0-D3494D438D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BEC84F1-B7FA-11D8-2723-041E800FFAA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9FF3276-18A9-5836-2FCC-A3458FF6A00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5063D3D-0DFF-2841-EB4D-BE8FD328E8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BE208E-AFA7-4654-8D2F-BEB8F8DA8AB2}" type="datetime1">
              <a:rPr lang="en-GB" smtClean="0"/>
              <a:t>17/09/2022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7E84ED9-D069-C060-55D2-2B9A78F236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574175E-00D1-8778-7169-7927B8BF64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47C1C1-E03C-4710-B8F6-102B1D3AFD6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6276698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94C348-A26C-FFF2-56E1-EE1599061D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C09EB38-8EB8-20B5-39B3-0CB6602633F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E5923B0-FAFB-B693-5130-699BD852446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C54D618-F42F-08B1-19E8-715582EEDF0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C5DC93A-39C5-2A15-5E29-723B01AA459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A5BB30C-76D9-4E51-F065-1582D2F8CB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320988-67FA-4094-A298-8BFDF7933345}" type="datetime1">
              <a:rPr lang="en-GB" smtClean="0"/>
              <a:t>17/09/2022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DB9A5E5-E079-5CF0-D302-4413498D74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BB10946-B909-1CFD-AB08-22451EF316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47C1C1-E03C-4710-B8F6-102B1D3AFD6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908255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EB1767-4F44-3DD2-0A3C-3B7B201764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AFE5635-0C0C-3B73-E8AF-77306855A8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D734E0-BB75-480C-A54C-6C8EB1BF0CCF}" type="datetime1">
              <a:rPr lang="en-GB" smtClean="0"/>
              <a:t>17/09/2022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5376B22-A9E1-6B02-BCE7-277267ED75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FD2D507-0328-DDA2-B4FF-AE9A59E2B3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47C1C1-E03C-4710-B8F6-102B1D3AFD6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4588463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5430839-294A-BEA7-5D57-00E6E5784C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A68D07-0D24-4C56-AA58-C30FA8BA2360}" type="datetime1">
              <a:rPr lang="en-GB" smtClean="0"/>
              <a:t>17/09/2022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4091789-6A7F-666E-6121-97C097EE6B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89C036A-F366-CEA9-F6C5-71DCC2E97C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47C1C1-E03C-4710-B8F6-102B1D3AFD6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5232162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36CCE8-7C92-213A-4D7B-058E6CA69F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DE0B1A6-9DE7-3FEF-AE7A-40F0CA4790E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0AAA931-6259-45D9-B2CF-6E0F0F0830E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B658E91-823B-98E4-E128-8064CA5DC8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9D6FA0-200F-4E5F-A64E-B5ECFF55DF02}" type="datetime1">
              <a:rPr lang="en-GB" smtClean="0"/>
              <a:t>17/09/2022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04D5DDD-0F53-EB2D-6D36-6B5A7809BA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F28FD3A-5DA9-10DB-0B1F-B95716E50C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47C1C1-E03C-4710-B8F6-102B1D3AFD6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2907890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934CCC-7990-EC45-FE00-0362140208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333527C-D21C-12B0-037F-57E5BF0B01E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DF4E5CE-870F-024A-7488-8C71B4CE9F4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EE3E801-EF4A-54DE-4A10-3050413C01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9545CB-1863-4CCF-9BE3-6709BC7C108F}" type="datetime1">
              <a:rPr lang="en-GB" smtClean="0"/>
              <a:t>17/09/2022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7DA057A-8AF5-697A-7A0D-EB82A12692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41A1506-1DCA-6B8D-AAD6-7087D2CC9B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47C1C1-E03C-4710-B8F6-102B1D3AFD6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0177026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7334A3E-2D7E-4E2E-65D9-B72CA26CB0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6920672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" name="think-cell Slide" r:id="rId15" imgW="347" imgH="348" progId="TCLayout.ActiveDocument.1">
                  <p:embed/>
                </p:oleObj>
              </mc:Choice>
              <mc:Fallback>
                <p:oleObj name="think-cell Slide" r:id="rId1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60E574E-4CC8-C90C-0DF0-071676EA0F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6BF2BE1-117E-54A1-DD3D-CE08F5FAE18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93DA08-F362-1840-DA8F-9BE48521F22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65E8F7-4594-4563-86BE-DE955395A6A4}" type="datetime1">
              <a:rPr lang="en-GB" smtClean="0"/>
              <a:t>17/09/2022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93C0F61-64D1-5402-E11F-AD48D1BB71B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53C24DF-5B71-B52C-6833-D164BDA6818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A47C1C1-E03C-4710-B8F6-102B1D3AFD6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523896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5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EFA312C-0CD1-34F2-F3B7-6400D93F890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60717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CC7AAFB-84D2-4172-B3D3-52F769E7AA2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ANL488 Presentation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66DA114-333B-A423-9D78-B36A4D3E818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Bryan Lim </a:t>
            </a:r>
            <a:r>
              <a:rPr lang="en-GB" dirty="0" err="1"/>
              <a:t>Tze</a:t>
            </a:r>
            <a:r>
              <a:rPr lang="en-GB" dirty="0"/>
              <a:t> Yuan</a:t>
            </a:r>
          </a:p>
          <a:p>
            <a:r>
              <a:rPr lang="en-GB" dirty="0"/>
              <a:t>H1981079</a:t>
            </a:r>
          </a:p>
          <a:p>
            <a:r>
              <a:rPr lang="en-GB" dirty="0"/>
              <a:t>Presentation date: 190922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6CE70C62-CDC0-8F1B-04DD-1D47A244D0D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44075" y="-146580"/>
            <a:ext cx="2838450" cy="15769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59F3954-187E-8613-4E85-EACADF17EC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EA47C1C1-E03C-4710-B8F6-102B1D3AFD6F}" type="slidenum">
              <a:rPr lang="en-GB" smtClean="0"/>
              <a:t>1</a:t>
            </a:fld>
            <a:r>
              <a:rPr lang="en-GB" dirty="0"/>
              <a:t>/15</a:t>
            </a:r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F53ED74F-73BF-4067-999B-6596C4611B3C}"/>
              </a:ext>
            </a:extLst>
          </p:cNvPr>
          <p:cNvSpPr txBox="1">
            <a:spLocks/>
          </p:cNvSpPr>
          <p:nvPr/>
        </p:nvSpPr>
        <p:spPr>
          <a:xfrm>
            <a:off x="-318782" y="6356349"/>
            <a:ext cx="201335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ANL488 Presentation</a:t>
            </a:r>
          </a:p>
        </p:txBody>
      </p:sp>
    </p:spTree>
    <p:extLst>
      <p:ext uri="{BB962C8B-B14F-4D97-AF65-F5344CB8AC3E}">
        <p14:creationId xmlns:p14="http://schemas.microsoft.com/office/powerpoint/2010/main" val="32508887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15DA40-AD51-4C05-A34B-7F1EFBDBD6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400" dirty="0"/>
              <a:t>Model - Training</a:t>
            </a:r>
            <a:endParaRPr lang="en-GB" sz="24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B8B3019-CF31-473E-8D78-9D7021C50E7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895850"/>
          </a:xfrm>
        </p:spPr>
        <p:txBody>
          <a:bodyPr>
            <a:normAutofit/>
          </a:bodyPr>
          <a:lstStyle/>
          <a:p>
            <a:r>
              <a:rPr lang="en-US" sz="2000" dirty="0"/>
              <a:t>Sampling method</a:t>
            </a:r>
          </a:p>
          <a:p>
            <a:pPr lvl="1"/>
            <a:r>
              <a:rPr lang="en-US" sz="2000" dirty="0"/>
              <a:t>Training (70%), Validation (10%), Testing (20%)</a:t>
            </a:r>
          </a:p>
          <a:p>
            <a:r>
              <a:rPr lang="en-US" sz="2000" dirty="0"/>
              <a:t>Model Summary:</a:t>
            </a:r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r>
              <a:rPr lang="en-US" sz="2000" dirty="0"/>
              <a:t>64 memory units, 1 output lay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478F23-86CA-494C-99FC-F54C00CD5D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47C1C1-E03C-4710-B8F6-102B1D3AFD6F}" type="slidenum">
              <a:rPr lang="en-GB" smtClean="0"/>
              <a:t>10</a:t>
            </a:fld>
            <a:r>
              <a:rPr lang="en-GB" dirty="0"/>
              <a:t>/15</a:t>
            </a:r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4248B6CF-3026-4263-AD97-865D3F53A98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44075" y="-146580"/>
            <a:ext cx="2838450" cy="15769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1A453CFB-9691-4065-A8D5-EA8868BA2D5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17072" y="2923127"/>
            <a:ext cx="5201174" cy="2391781"/>
          </a:xfrm>
          <a:prstGeom prst="rect">
            <a:avLst/>
          </a:prstGeom>
        </p:spPr>
      </p:pic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E6C78B52-9454-46E7-B8D1-F29C3641387B}"/>
              </a:ext>
            </a:extLst>
          </p:cNvPr>
          <p:cNvSpPr txBox="1">
            <a:spLocks/>
          </p:cNvSpPr>
          <p:nvPr/>
        </p:nvSpPr>
        <p:spPr>
          <a:xfrm>
            <a:off x="-318782" y="6356349"/>
            <a:ext cx="201335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ANL488 Presentation</a:t>
            </a:r>
          </a:p>
        </p:txBody>
      </p:sp>
    </p:spTree>
    <p:extLst>
      <p:ext uri="{BB962C8B-B14F-4D97-AF65-F5344CB8AC3E}">
        <p14:creationId xmlns:p14="http://schemas.microsoft.com/office/powerpoint/2010/main" val="278840960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15DA40-AD51-4C05-A34B-7F1EFBDBD6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400" dirty="0"/>
              <a:t>Model - Training</a:t>
            </a:r>
            <a:endParaRPr lang="en-GB" sz="24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B8B3019-CF31-473E-8D78-9D7021C50E7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895850"/>
          </a:xfrm>
        </p:spPr>
        <p:txBody>
          <a:bodyPr>
            <a:normAutofit/>
          </a:bodyPr>
          <a:lstStyle/>
          <a:p>
            <a:r>
              <a:rPr lang="en-US" sz="2000" dirty="0"/>
              <a:t>Fit model to training data, validate with validation data</a:t>
            </a:r>
          </a:p>
          <a:p>
            <a:r>
              <a:rPr lang="en-US" sz="2000" dirty="0"/>
              <a:t> Example of prediction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478F23-86CA-494C-99FC-F54C00CD5D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47C1C1-E03C-4710-B8F6-102B1D3AFD6F}" type="slidenum">
              <a:rPr lang="en-GB" smtClean="0"/>
              <a:t>11</a:t>
            </a:fld>
            <a:r>
              <a:rPr lang="en-GB" dirty="0"/>
              <a:t>/15</a:t>
            </a:r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4248B6CF-3026-4263-AD97-865D3F53A98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44075" y="-146580"/>
            <a:ext cx="2838450" cy="15769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F8F9248-B03B-4AA0-8091-0069DAA5500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55672" y="2737337"/>
            <a:ext cx="3142468" cy="3262410"/>
          </a:xfrm>
          <a:prstGeom prst="rect">
            <a:avLst/>
          </a:prstGeom>
        </p:spPr>
      </p:pic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E7CB6EE6-3E85-44EF-8636-5DB53530FAED}"/>
              </a:ext>
            </a:extLst>
          </p:cNvPr>
          <p:cNvSpPr txBox="1">
            <a:spLocks/>
          </p:cNvSpPr>
          <p:nvPr/>
        </p:nvSpPr>
        <p:spPr>
          <a:xfrm>
            <a:off x="-318782" y="6356349"/>
            <a:ext cx="201335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ANL488 Presentation</a:t>
            </a:r>
          </a:p>
        </p:txBody>
      </p:sp>
    </p:spTree>
    <p:extLst>
      <p:ext uri="{BB962C8B-B14F-4D97-AF65-F5344CB8AC3E}">
        <p14:creationId xmlns:p14="http://schemas.microsoft.com/office/powerpoint/2010/main" val="129518500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15DA40-AD51-4C05-A34B-7F1EFBDBD6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400" dirty="0"/>
              <a:t>Model – Inverse and plot</a:t>
            </a:r>
            <a:endParaRPr lang="en-GB" sz="24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B8B3019-CF31-473E-8D78-9D7021C50E7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895850"/>
          </a:xfrm>
        </p:spPr>
        <p:txBody>
          <a:bodyPr>
            <a:normAutofit/>
          </a:bodyPr>
          <a:lstStyle/>
          <a:p>
            <a:r>
              <a:rPr lang="en-US" sz="2000" dirty="0"/>
              <a:t>Inverse scaling function and plot predictions to actuals</a:t>
            </a:r>
          </a:p>
          <a:p>
            <a:r>
              <a:rPr lang="en-US" sz="2000" dirty="0"/>
              <a:t>Predictions vs actuals for US co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478F23-86CA-494C-99FC-F54C00CD5D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47C1C1-E03C-4710-B8F6-102B1D3AFD6F}" type="slidenum">
              <a:rPr lang="en-GB" smtClean="0"/>
              <a:t>12</a:t>
            </a:fld>
            <a:r>
              <a:rPr lang="en-GB" dirty="0"/>
              <a:t>/15</a:t>
            </a:r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4248B6CF-3026-4263-AD97-865D3F53A98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44075" y="-146580"/>
            <a:ext cx="2838450" cy="15769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2D24F497-BCFA-4E88-8E45-E9AC37BEED3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91478" y="2853706"/>
            <a:ext cx="4993279" cy="3639169"/>
          </a:xfrm>
          <a:prstGeom prst="rect">
            <a:avLst/>
          </a:prstGeom>
        </p:spPr>
      </p:pic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47DAFF54-B000-44CC-8AE3-18CE79F62E17}"/>
              </a:ext>
            </a:extLst>
          </p:cNvPr>
          <p:cNvSpPr txBox="1">
            <a:spLocks/>
          </p:cNvSpPr>
          <p:nvPr/>
        </p:nvSpPr>
        <p:spPr>
          <a:xfrm>
            <a:off x="-318782" y="6356349"/>
            <a:ext cx="201335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ANL488 Presentation</a:t>
            </a:r>
          </a:p>
        </p:txBody>
      </p:sp>
    </p:spTree>
    <p:extLst>
      <p:ext uri="{BB962C8B-B14F-4D97-AF65-F5344CB8AC3E}">
        <p14:creationId xmlns:p14="http://schemas.microsoft.com/office/powerpoint/2010/main" val="201849142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15DA40-AD51-4C05-A34B-7F1EFBDBD6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400" dirty="0"/>
              <a:t>Model – Inverse and plot</a:t>
            </a:r>
            <a:endParaRPr lang="en-GB" sz="24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478F23-86CA-494C-99FC-F54C00CD5D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47C1C1-E03C-4710-B8F6-102B1D3AFD6F}" type="slidenum">
              <a:rPr lang="en-GB" smtClean="0"/>
              <a:t>13</a:t>
            </a:fld>
            <a:r>
              <a:rPr lang="en-GB" dirty="0"/>
              <a:t>/15</a:t>
            </a:r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4248B6CF-3026-4263-AD97-865D3F53A98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44075" y="-146580"/>
            <a:ext cx="2838450" cy="15769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10B52D06-0F13-4CBA-8370-4E36A7D9F34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85361" y="2760176"/>
            <a:ext cx="4332387" cy="3176364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75356219-ED4D-4060-BDA7-1D2D4F7094D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74254" y="2760176"/>
            <a:ext cx="4348332" cy="3176364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89A57E76-5841-4805-9254-578127D1FEBE}"/>
              </a:ext>
            </a:extLst>
          </p:cNvPr>
          <p:cNvSpPr txBox="1"/>
          <p:nvPr/>
        </p:nvSpPr>
        <p:spPr>
          <a:xfrm>
            <a:off x="2299636" y="1937669"/>
            <a:ext cx="150714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/>
              <a:t>China Model</a:t>
            </a:r>
            <a:endParaRPr lang="en-GB" sz="2000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2107BAD-7FFE-40CB-84AA-E65E7270AA8E}"/>
              </a:ext>
            </a:extLst>
          </p:cNvPr>
          <p:cNvSpPr txBox="1"/>
          <p:nvPr/>
        </p:nvSpPr>
        <p:spPr>
          <a:xfrm>
            <a:off x="7570962" y="1953711"/>
            <a:ext cx="157767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/>
              <a:t>Russia Model</a:t>
            </a:r>
            <a:endParaRPr lang="en-GB" sz="2000" dirty="0"/>
          </a:p>
        </p:txBody>
      </p:sp>
      <p:sp>
        <p:nvSpPr>
          <p:cNvPr id="13" name="Slide Number Placeholder 3">
            <a:extLst>
              <a:ext uri="{FF2B5EF4-FFF2-40B4-BE49-F238E27FC236}">
                <a16:creationId xmlns:a16="http://schemas.microsoft.com/office/drawing/2014/main" id="{B35F22AC-5B06-46F4-9DD7-A14770060989}"/>
              </a:ext>
            </a:extLst>
          </p:cNvPr>
          <p:cNvSpPr txBox="1">
            <a:spLocks/>
          </p:cNvSpPr>
          <p:nvPr/>
        </p:nvSpPr>
        <p:spPr>
          <a:xfrm>
            <a:off x="-318782" y="6356349"/>
            <a:ext cx="201335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ANL488 Presentation</a:t>
            </a:r>
          </a:p>
        </p:txBody>
      </p:sp>
    </p:spTree>
    <p:extLst>
      <p:ext uri="{BB962C8B-B14F-4D97-AF65-F5344CB8AC3E}">
        <p14:creationId xmlns:p14="http://schemas.microsoft.com/office/powerpoint/2010/main" val="209475716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15DA40-AD51-4C05-A34B-7F1EFBDBD6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400" dirty="0"/>
              <a:t>Model – Inverse and plot</a:t>
            </a:r>
            <a:endParaRPr lang="en-GB" sz="24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478F23-86CA-494C-99FC-F54C00CD5D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47C1C1-E03C-4710-B8F6-102B1D3AFD6F}" type="slidenum">
              <a:rPr lang="en-GB" smtClean="0"/>
              <a:t>14</a:t>
            </a:fld>
            <a:r>
              <a:rPr lang="en-GB" dirty="0"/>
              <a:t>/15</a:t>
            </a:r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4248B6CF-3026-4263-AD97-865D3F53A98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44075" y="-146580"/>
            <a:ext cx="2838450" cy="15769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89A57E76-5841-4805-9254-578127D1FEBE}"/>
              </a:ext>
            </a:extLst>
          </p:cNvPr>
          <p:cNvSpPr txBox="1"/>
          <p:nvPr/>
        </p:nvSpPr>
        <p:spPr>
          <a:xfrm>
            <a:off x="2299636" y="1937669"/>
            <a:ext cx="151676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/>
              <a:t>Japan Model</a:t>
            </a:r>
            <a:endParaRPr lang="en-GB" sz="2000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2107BAD-7FFE-40CB-84AA-E65E7270AA8E}"/>
              </a:ext>
            </a:extLst>
          </p:cNvPr>
          <p:cNvSpPr txBox="1"/>
          <p:nvPr/>
        </p:nvSpPr>
        <p:spPr>
          <a:xfrm>
            <a:off x="7570962" y="1953711"/>
            <a:ext cx="187269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/>
              <a:t>Germany Model</a:t>
            </a:r>
            <a:endParaRPr lang="en-GB" sz="20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3161B29-D576-459C-9528-52E009C5B9C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69415" y="2813236"/>
            <a:ext cx="4348332" cy="322017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3EFC0F0E-12DB-48E7-BA4A-665D26839E3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90368" y="2928671"/>
            <a:ext cx="4210538" cy="3104740"/>
          </a:xfrm>
          <a:prstGeom prst="rect">
            <a:avLst/>
          </a:prstGeom>
        </p:spPr>
      </p:pic>
      <p:sp>
        <p:nvSpPr>
          <p:cNvPr id="13" name="Slide Number Placeholder 3">
            <a:extLst>
              <a:ext uri="{FF2B5EF4-FFF2-40B4-BE49-F238E27FC236}">
                <a16:creationId xmlns:a16="http://schemas.microsoft.com/office/drawing/2014/main" id="{A3AD2E45-5C2A-41E3-85BD-20F5EF54F38B}"/>
              </a:ext>
            </a:extLst>
          </p:cNvPr>
          <p:cNvSpPr txBox="1">
            <a:spLocks/>
          </p:cNvSpPr>
          <p:nvPr/>
        </p:nvSpPr>
        <p:spPr>
          <a:xfrm>
            <a:off x="-318782" y="6356349"/>
            <a:ext cx="201335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ANL488 Presentation</a:t>
            </a:r>
          </a:p>
        </p:txBody>
      </p:sp>
    </p:spTree>
    <p:extLst>
      <p:ext uri="{BB962C8B-B14F-4D97-AF65-F5344CB8AC3E}">
        <p14:creationId xmlns:p14="http://schemas.microsoft.com/office/powerpoint/2010/main" val="37385870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0893E2-69AB-49C2-9BA5-1C4A97CA98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400" dirty="0"/>
              <a:t>Future Work</a:t>
            </a:r>
            <a:endParaRPr lang="en-GB" sz="24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26F0D58-2D7F-4261-B2E4-FDF483EB81F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000" dirty="0"/>
              <a:t>Forecasting of co2 emissions for future dates</a:t>
            </a:r>
          </a:p>
          <a:p>
            <a:r>
              <a:rPr lang="en-US" sz="2000" dirty="0"/>
              <a:t>Forecasting using ARIMA</a:t>
            </a:r>
          </a:p>
          <a:p>
            <a:r>
              <a:rPr lang="en-US" sz="2000" dirty="0"/>
              <a:t>Improving on current model accurac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625AB05-A150-4880-8A3C-BC75124F2F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47C1C1-E03C-4710-B8F6-102B1D3AFD6F}" type="slidenum">
              <a:rPr lang="en-GB" smtClean="0"/>
              <a:t>15</a:t>
            </a:fld>
            <a:r>
              <a:rPr lang="en-GB" dirty="0"/>
              <a:t>/15</a:t>
            </a:r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EB04F732-4680-46AA-8656-078F632EBF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44075" y="-146580"/>
            <a:ext cx="2838450" cy="15769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F707DA84-61B9-4ABC-A5E3-3AF147541247}"/>
              </a:ext>
            </a:extLst>
          </p:cNvPr>
          <p:cNvSpPr txBox="1">
            <a:spLocks/>
          </p:cNvSpPr>
          <p:nvPr/>
        </p:nvSpPr>
        <p:spPr>
          <a:xfrm>
            <a:off x="-318782" y="6356349"/>
            <a:ext cx="201335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ANL488 Presentation</a:t>
            </a:r>
          </a:p>
        </p:txBody>
      </p:sp>
    </p:spTree>
    <p:extLst>
      <p:ext uri="{BB962C8B-B14F-4D97-AF65-F5344CB8AC3E}">
        <p14:creationId xmlns:p14="http://schemas.microsoft.com/office/powerpoint/2010/main" val="67213668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C78D24-AB5E-463A-A1E9-02D7E1B26C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400" dirty="0"/>
              <a:t>Introduction</a:t>
            </a:r>
            <a:endParaRPr lang="en-GB" sz="24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AD12A25-7197-47E8-8DE1-41AE3386AD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000" dirty="0"/>
              <a:t>Background</a:t>
            </a:r>
          </a:p>
          <a:p>
            <a:pPr lvl="1"/>
            <a:r>
              <a:rPr lang="en-US" sz="2000" dirty="0"/>
              <a:t>Rise in GHG emissions</a:t>
            </a:r>
          </a:p>
          <a:p>
            <a:pPr lvl="1"/>
            <a:r>
              <a:rPr lang="en-US" sz="2000" dirty="0"/>
              <a:t>Increase in temperatures</a:t>
            </a:r>
          </a:p>
          <a:p>
            <a:pPr lvl="1"/>
            <a:r>
              <a:rPr lang="en-US" sz="2000" dirty="0"/>
              <a:t>Increase in global population</a:t>
            </a:r>
          </a:p>
          <a:p>
            <a:r>
              <a:rPr lang="en-US" sz="2000" dirty="0"/>
              <a:t>Objective</a:t>
            </a:r>
          </a:p>
          <a:p>
            <a:pPr lvl="1"/>
            <a:r>
              <a:rPr lang="en-US" sz="2000" dirty="0"/>
              <a:t>Forecast future GHG emission levels</a:t>
            </a:r>
          </a:p>
          <a:p>
            <a:pPr lvl="1"/>
            <a:r>
              <a:rPr lang="en-US" sz="2000" dirty="0"/>
              <a:t>Given current trend of GDP, Population and CO2 emissions</a:t>
            </a:r>
            <a:endParaRPr lang="en-US" sz="1600" dirty="0"/>
          </a:p>
          <a:p>
            <a:r>
              <a:rPr lang="en-US" sz="2000" dirty="0"/>
              <a:t>Lit Review</a:t>
            </a:r>
          </a:p>
          <a:p>
            <a:pPr lvl="1"/>
            <a:r>
              <a:rPr lang="en-US" sz="2000" dirty="0"/>
              <a:t>LSTM and ARIMA used for forecasting time series data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D203B3E-49F1-4DED-A749-FA0F1B30F3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47C1C1-E03C-4710-B8F6-102B1D3AFD6F}" type="slidenum">
              <a:rPr lang="en-GB" smtClean="0"/>
              <a:t>2</a:t>
            </a:fld>
            <a:r>
              <a:rPr lang="en-GB"/>
              <a:t>/15</a:t>
            </a:r>
            <a:endParaRPr lang="en-GB" dirty="0"/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42F9CCA2-F4D7-4276-943C-5415F2327AE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44075" y="-146580"/>
            <a:ext cx="2838450" cy="15769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72DF70CA-A41A-4C52-864F-CF9143D53797}"/>
              </a:ext>
            </a:extLst>
          </p:cNvPr>
          <p:cNvSpPr txBox="1">
            <a:spLocks/>
          </p:cNvSpPr>
          <p:nvPr/>
        </p:nvSpPr>
        <p:spPr>
          <a:xfrm>
            <a:off x="-318782" y="6356349"/>
            <a:ext cx="201335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ANL488 Presentation</a:t>
            </a:r>
          </a:p>
        </p:txBody>
      </p:sp>
    </p:spTree>
    <p:extLst>
      <p:ext uri="{BB962C8B-B14F-4D97-AF65-F5344CB8AC3E}">
        <p14:creationId xmlns:p14="http://schemas.microsoft.com/office/powerpoint/2010/main" val="41622075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5B42EA-405F-41CE-81FC-BE76EBB87F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400" dirty="0"/>
              <a:t>Data Understanding	</a:t>
            </a:r>
            <a:endParaRPr lang="en-GB" sz="2400" dirty="0"/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27779944-C0C6-43CB-B6D1-F81CC27ACAA3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484618033"/>
              </p:ext>
            </p:extLst>
          </p:nvPr>
        </p:nvGraphicFramePr>
        <p:xfrm>
          <a:off x="838200" y="1825625"/>
          <a:ext cx="10515597" cy="296672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2033337">
                  <a:extLst>
                    <a:ext uri="{9D8B030D-6E8A-4147-A177-3AD203B41FA5}">
                      <a16:colId xmlns:a16="http://schemas.microsoft.com/office/drawing/2014/main" val="1348847940"/>
                    </a:ext>
                  </a:extLst>
                </a:gridCol>
                <a:gridCol w="2197768">
                  <a:extLst>
                    <a:ext uri="{9D8B030D-6E8A-4147-A177-3AD203B41FA5}">
                      <a16:colId xmlns:a16="http://schemas.microsoft.com/office/drawing/2014/main" val="508313721"/>
                    </a:ext>
                  </a:extLst>
                </a:gridCol>
                <a:gridCol w="6284492">
                  <a:extLst>
                    <a:ext uri="{9D8B030D-6E8A-4147-A177-3AD203B41FA5}">
                      <a16:colId xmlns:a16="http://schemas.microsoft.com/office/drawing/2014/main" val="413826781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Source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olumns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Description</a:t>
                      </a:r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3849775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ountry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Name of country</a:t>
                      </a:r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812628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Year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Year of observation</a:t>
                      </a:r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0362589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o2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nnual co2 emissions (million </a:t>
                      </a:r>
                      <a:r>
                        <a:rPr lang="en-US" dirty="0" err="1"/>
                        <a:t>tonnes</a:t>
                      </a:r>
                      <a:r>
                        <a:rPr lang="en-US" dirty="0"/>
                        <a:t>)</a:t>
                      </a:r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0548484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Trade_co2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Net co2 emissions from trade</a:t>
                      </a:r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2385616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…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…</a:t>
                      </a:r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9576601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Gdp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Gross Domestic Product for country</a:t>
                      </a:r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672685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Energy_per_capita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Energy consumption per capita (kilowatt-hours per year)</a:t>
                      </a:r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41231523"/>
                  </a:ext>
                </a:extLst>
              </a:tr>
            </a:tbl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1823AF-80E9-4982-A65F-94AF6E7A88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47C1C1-E03C-4710-B8F6-102B1D3AFD6F}" type="slidenum">
              <a:rPr lang="en-GB" smtClean="0"/>
              <a:t>3</a:t>
            </a:fld>
            <a:r>
              <a:rPr lang="en-GB" dirty="0"/>
              <a:t>/15</a:t>
            </a:r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CD4BC963-F9A3-4E65-B00E-169FE90ED02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44075" y="-146580"/>
            <a:ext cx="2838450" cy="15769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 descr="Our World in Data - Home | Facebook">
            <a:extLst>
              <a:ext uri="{FF2B5EF4-FFF2-40B4-BE49-F238E27FC236}">
                <a16:creationId xmlns:a16="http://schemas.microsoft.com/office/drawing/2014/main" id="{4BA9BAD8-6E4C-4658-8745-A163CD8DD5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2579" y="2556710"/>
            <a:ext cx="1744579" cy="17445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C5917B2C-7BD0-4986-ADDF-C3FCA76EB500}"/>
              </a:ext>
            </a:extLst>
          </p:cNvPr>
          <p:cNvSpPr txBox="1"/>
          <p:nvPr/>
        </p:nvSpPr>
        <p:spPr>
          <a:xfrm>
            <a:off x="838200" y="4927282"/>
            <a:ext cx="6075947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dirty="0"/>
              <a:t>Dataset features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000" dirty="0"/>
              <a:t>25989 Entries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000" dirty="0"/>
              <a:t>60 Columns </a:t>
            </a:r>
          </a:p>
        </p:txBody>
      </p: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C3E8BB64-7F74-487E-9A3D-BA4A43A89698}"/>
              </a:ext>
            </a:extLst>
          </p:cNvPr>
          <p:cNvSpPr txBox="1">
            <a:spLocks/>
          </p:cNvSpPr>
          <p:nvPr/>
        </p:nvSpPr>
        <p:spPr>
          <a:xfrm>
            <a:off x="-318782" y="6356349"/>
            <a:ext cx="201335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ANL488 Presentation</a:t>
            </a:r>
          </a:p>
        </p:txBody>
      </p:sp>
    </p:spTree>
    <p:extLst>
      <p:ext uri="{BB962C8B-B14F-4D97-AF65-F5344CB8AC3E}">
        <p14:creationId xmlns:p14="http://schemas.microsoft.com/office/powerpoint/2010/main" val="323434652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37FCC2-D771-4072-B19E-9E440958CB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400" dirty="0"/>
              <a:t>Data Preparation – Chosen variables</a:t>
            </a:r>
            <a:endParaRPr lang="en-GB" sz="24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8274688-07D4-468B-84B4-142A16F9AFC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dirty="0"/>
              <a:t>Variables chosen for multivariate LSTM</a:t>
            </a:r>
          </a:p>
          <a:p>
            <a:pPr marL="0" indent="0">
              <a:buNone/>
            </a:pPr>
            <a:endParaRPr lang="en-GB" sz="20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704A981-8F59-4D94-920A-E2B9422BCB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47C1C1-E03C-4710-B8F6-102B1D3AFD6F}" type="slidenum">
              <a:rPr lang="en-GB" smtClean="0"/>
              <a:t>4</a:t>
            </a:fld>
            <a:r>
              <a:rPr lang="en-GB" dirty="0"/>
              <a:t>/15</a:t>
            </a:r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EC6AD995-FE88-4242-83EE-CAF25D6C2DD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45794450"/>
              </p:ext>
            </p:extLst>
          </p:nvPr>
        </p:nvGraphicFramePr>
        <p:xfrm>
          <a:off x="2032000" y="2501900"/>
          <a:ext cx="8128000" cy="222504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2363537">
                  <a:extLst>
                    <a:ext uri="{9D8B030D-6E8A-4147-A177-3AD203B41FA5}">
                      <a16:colId xmlns:a16="http://schemas.microsoft.com/office/drawing/2014/main" val="2294929300"/>
                    </a:ext>
                  </a:extLst>
                </a:gridCol>
                <a:gridCol w="5764463">
                  <a:extLst>
                    <a:ext uri="{9D8B030D-6E8A-4147-A177-3AD203B41FA5}">
                      <a16:colId xmlns:a16="http://schemas.microsoft.com/office/drawing/2014/main" val="135695123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600" dirty="0"/>
                        <a:t>Column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Description</a:t>
                      </a:r>
                      <a:endParaRPr lang="en-GB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1004621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b="1" dirty="0"/>
                        <a:t>Country</a:t>
                      </a:r>
                      <a:endParaRPr lang="en-GB" sz="16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Name of country</a:t>
                      </a:r>
                      <a:endParaRPr lang="en-GB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8439445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b="1" dirty="0"/>
                        <a:t>Year</a:t>
                      </a:r>
                      <a:endParaRPr lang="en-GB" sz="16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Year of observation</a:t>
                      </a:r>
                      <a:endParaRPr lang="en-GB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5105473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b="1" dirty="0"/>
                        <a:t>Co2</a:t>
                      </a:r>
                      <a:endParaRPr lang="en-GB" sz="16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Annual co2 emissions (million </a:t>
                      </a:r>
                      <a:r>
                        <a:rPr lang="en-US" sz="1600" dirty="0" err="1"/>
                        <a:t>tonnes</a:t>
                      </a:r>
                      <a:r>
                        <a:rPr lang="en-US" sz="1600" dirty="0"/>
                        <a:t>)</a:t>
                      </a:r>
                      <a:endParaRPr lang="en-GB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9545827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b="1" dirty="0"/>
                        <a:t>Population</a:t>
                      </a:r>
                      <a:endParaRPr lang="en-GB" sz="16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Population of country</a:t>
                      </a:r>
                      <a:endParaRPr lang="en-GB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1215525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b="1" dirty="0"/>
                        <a:t>GDP</a:t>
                      </a:r>
                      <a:endParaRPr lang="en-GB" sz="16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GDP of country</a:t>
                      </a:r>
                      <a:endParaRPr lang="en-GB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32044081"/>
                  </a:ext>
                </a:extLst>
              </a:tr>
            </a:tbl>
          </a:graphicData>
        </a:graphic>
      </p:graphicFrame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93C75F21-97A7-41A6-99E0-795FB738C24B}"/>
              </a:ext>
            </a:extLst>
          </p:cNvPr>
          <p:cNvSpPr txBox="1">
            <a:spLocks/>
          </p:cNvSpPr>
          <p:nvPr/>
        </p:nvSpPr>
        <p:spPr>
          <a:xfrm>
            <a:off x="-318782" y="6356349"/>
            <a:ext cx="201335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ANL488 Presentation</a:t>
            </a:r>
          </a:p>
        </p:txBody>
      </p:sp>
    </p:spTree>
    <p:extLst>
      <p:ext uri="{BB962C8B-B14F-4D97-AF65-F5344CB8AC3E}">
        <p14:creationId xmlns:p14="http://schemas.microsoft.com/office/powerpoint/2010/main" val="305569182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2C117B-0709-4F7D-9ADB-52F76C5A44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400" dirty="0"/>
              <a:t>Data Preparation – Missing values</a:t>
            </a:r>
            <a:endParaRPr lang="en-GB" sz="24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13793A4-CD1C-4842-B252-6225928C570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514350" indent="-514350">
              <a:buFont typeface="+mj-lt"/>
              <a:buAutoNum type="arabicPeriod"/>
            </a:pPr>
            <a:r>
              <a:rPr lang="en-US" sz="2000" dirty="0"/>
              <a:t>Pivot table</a:t>
            </a:r>
          </a:p>
          <a:p>
            <a:pPr marL="514350" indent="-514350">
              <a:buFont typeface="+mj-lt"/>
              <a:buAutoNum type="arabicPeriod"/>
            </a:pPr>
            <a:endParaRPr lang="en-GB" sz="20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5CE80ED-FEE1-492A-BB98-ECEE4CF9F9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47C1C1-E03C-4710-B8F6-102B1D3AFD6F}" type="slidenum">
              <a:rPr lang="en-GB" smtClean="0"/>
              <a:t>5</a:t>
            </a:fld>
            <a:r>
              <a:rPr lang="en-GB" dirty="0"/>
              <a:t>/15</a:t>
            </a:r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8E9B4A4F-1A0D-40AB-AF24-17CF3ADED6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44075" y="-146580"/>
            <a:ext cx="2838450" cy="15769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1240D86-89B1-44F0-A550-BDE5255A2A7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81215" y="2534238"/>
            <a:ext cx="3724795" cy="293410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DEC3D909-514D-4DA5-AB20-8A1E48A5DD0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85992" y="2734290"/>
            <a:ext cx="4772691" cy="2534004"/>
          </a:xfrm>
          <a:prstGeom prst="rect">
            <a:avLst/>
          </a:prstGeom>
        </p:spPr>
      </p:pic>
      <p:sp>
        <p:nvSpPr>
          <p:cNvPr id="10" name="Arrow: Right 9">
            <a:extLst>
              <a:ext uri="{FF2B5EF4-FFF2-40B4-BE49-F238E27FC236}">
                <a16:creationId xmlns:a16="http://schemas.microsoft.com/office/drawing/2014/main" id="{9142041E-19CD-40D8-BA43-1BB35CB107D2}"/>
              </a:ext>
            </a:extLst>
          </p:cNvPr>
          <p:cNvSpPr/>
          <p:nvPr/>
        </p:nvSpPr>
        <p:spPr>
          <a:xfrm>
            <a:off x="5623909" y="3673642"/>
            <a:ext cx="850232" cy="705853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85B11374-1577-403A-971D-97B81B583E2E}"/>
              </a:ext>
            </a:extLst>
          </p:cNvPr>
          <p:cNvSpPr txBox="1">
            <a:spLocks/>
          </p:cNvSpPr>
          <p:nvPr/>
        </p:nvSpPr>
        <p:spPr>
          <a:xfrm>
            <a:off x="-318782" y="6356349"/>
            <a:ext cx="201335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ANL488 Presentation</a:t>
            </a:r>
          </a:p>
        </p:txBody>
      </p:sp>
    </p:spTree>
    <p:extLst>
      <p:ext uri="{BB962C8B-B14F-4D97-AF65-F5344CB8AC3E}">
        <p14:creationId xmlns:p14="http://schemas.microsoft.com/office/powerpoint/2010/main" val="316924714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2C117B-0709-4F7D-9ADB-52F76C5A44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400" dirty="0"/>
              <a:t>Data Preparation – Missing values</a:t>
            </a:r>
            <a:endParaRPr lang="en-GB" sz="24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13793A4-CD1C-4842-B252-6225928C570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dirty="0"/>
              <a:t>2.   Choose last 60 years data in a row, drop NA values</a:t>
            </a:r>
          </a:p>
          <a:p>
            <a:pPr marL="514350" indent="-514350">
              <a:buFont typeface="+mj-lt"/>
              <a:buAutoNum type="arabicPeriod"/>
            </a:pPr>
            <a:endParaRPr lang="en-GB" sz="20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5CE80ED-FEE1-492A-BB98-ECEE4CF9F9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47C1C1-E03C-4710-B8F6-102B1D3AFD6F}" type="slidenum">
              <a:rPr lang="en-GB" smtClean="0"/>
              <a:t>6</a:t>
            </a:fld>
            <a:r>
              <a:rPr lang="en-GB" dirty="0"/>
              <a:t>/15</a:t>
            </a:r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8E9B4A4F-1A0D-40AB-AF24-17CF3ADED6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44075" y="-146580"/>
            <a:ext cx="2838450" cy="15769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DEC3D909-514D-4DA5-AB20-8A1E48A5DD0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1527" y="2759566"/>
            <a:ext cx="4772691" cy="2534004"/>
          </a:xfrm>
          <a:prstGeom prst="rect">
            <a:avLst/>
          </a:prstGeom>
        </p:spPr>
      </p:pic>
      <p:sp>
        <p:nvSpPr>
          <p:cNvPr id="10" name="Arrow: Right 9">
            <a:extLst>
              <a:ext uri="{FF2B5EF4-FFF2-40B4-BE49-F238E27FC236}">
                <a16:creationId xmlns:a16="http://schemas.microsoft.com/office/drawing/2014/main" id="{9142041E-19CD-40D8-BA43-1BB35CB107D2}"/>
              </a:ext>
            </a:extLst>
          </p:cNvPr>
          <p:cNvSpPr/>
          <p:nvPr/>
        </p:nvSpPr>
        <p:spPr>
          <a:xfrm>
            <a:off x="5623909" y="3673642"/>
            <a:ext cx="850232" cy="705853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66C6888-5F74-4C0F-B693-25F0F4F6831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93522" y="2894711"/>
            <a:ext cx="4782217" cy="2543530"/>
          </a:xfrm>
          <a:prstGeom prst="rect">
            <a:avLst/>
          </a:prstGeom>
        </p:spPr>
      </p:pic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107087ED-E774-47A1-A51E-B71442643B7C}"/>
              </a:ext>
            </a:extLst>
          </p:cNvPr>
          <p:cNvSpPr txBox="1">
            <a:spLocks/>
          </p:cNvSpPr>
          <p:nvPr/>
        </p:nvSpPr>
        <p:spPr>
          <a:xfrm>
            <a:off x="-318782" y="6356349"/>
            <a:ext cx="201335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ANL488 Presentation</a:t>
            </a:r>
          </a:p>
        </p:txBody>
      </p:sp>
    </p:spTree>
    <p:extLst>
      <p:ext uri="{BB962C8B-B14F-4D97-AF65-F5344CB8AC3E}">
        <p14:creationId xmlns:p14="http://schemas.microsoft.com/office/powerpoint/2010/main" val="167646557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2C117B-0709-4F7D-9ADB-52F76C5A44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400" dirty="0"/>
              <a:t>Data Preparation – Final Dataset  </a:t>
            </a:r>
            <a:endParaRPr lang="en-GB" sz="24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13793A4-CD1C-4842-B252-6225928C570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30337"/>
            <a:ext cx="10515600" cy="5740484"/>
          </a:xfrm>
        </p:spPr>
        <p:txBody>
          <a:bodyPr>
            <a:normAutofit/>
          </a:bodyPr>
          <a:lstStyle/>
          <a:p>
            <a:pPr marL="514350" indent="-514350">
              <a:buAutoNum type="arabicPeriod" startAt="3"/>
            </a:pPr>
            <a:r>
              <a:rPr lang="en-US" sz="2000" dirty="0"/>
              <a:t>Find top 5 co2 emitters</a:t>
            </a:r>
          </a:p>
          <a:p>
            <a:pPr marL="514350" indent="-514350">
              <a:buAutoNum type="arabicPeriod" startAt="3"/>
            </a:pPr>
            <a:r>
              <a:rPr lang="en-GB" sz="2000" dirty="0"/>
              <a:t>Extract co2 emissions, GDP and population of top 5 countries</a:t>
            </a:r>
          </a:p>
          <a:p>
            <a:pPr marL="514350" indent="-514350">
              <a:buAutoNum type="arabicPeriod" startAt="3"/>
            </a:pPr>
            <a:r>
              <a:rPr lang="en-GB" sz="2000" dirty="0"/>
              <a:t>Put them into their respective </a:t>
            </a:r>
            <a:r>
              <a:rPr lang="en-GB" sz="2000" dirty="0" err="1"/>
              <a:t>dataframes</a:t>
            </a:r>
            <a:endParaRPr lang="en-GB" sz="2000" dirty="0"/>
          </a:p>
          <a:p>
            <a:pPr marL="514350" indent="-514350">
              <a:buAutoNum type="arabicPeriod" startAt="3"/>
            </a:pPr>
            <a:endParaRPr lang="en-GB" sz="2000" dirty="0"/>
          </a:p>
          <a:p>
            <a:pPr marL="514350" indent="-514350">
              <a:buAutoNum type="arabicPeriod" startAt="3"/>
            </a:pPr>
            <a:endParaRPr lang="en-GB" sz="2000" dirty="0"/>
          </a:p>
          <a:p>
            <a:pPr marL="514350" indent="-514350">
              <a:buAutoNum type="arabicPeriod" startAt="3"/>
            </a:pPr>
            <a:endParaRPr lang="en-GB" sz="2000" dirty="0"/>
          </a:p>
          <a:p>
            <a:pPr marL="0" indent="0">
              <a:buNone/>
            </a:pPr>
            <a:endParaRPr lang="en-GB" sz="2000" dirty="0"/>
          </a:p>
          <a:p>
            <a:pPr marL="0" indent="0">
              <a:buNone/>
            </a:pPr>
            <a:endParaRPr lang="en-GB" sz="2000" dirty="0"/>
          </a:p>
          <a:p>
            <a:pPr marL="0" indent="0">
              <a:buNone/>
            </a:pPr>
            <a:endParaRPr lang="en-GB" sz="2000" dirty="0"/>
          </a:p>
          <a:p>
            <a:pPr marL="0" indent="0">
              <a:buNone/>
            </a:pPr>
            <a:endParaRPr lang="en-GB" sz="2000" dirty="0"/>
          </a:p>
          <a:p>
            <a:pPr marL="0" indent="0">
              <a:buNone/>
            </a:pPr>
            <a:r>
              <a:rPr lang="en-GB" sz="2000" dirty="0"/>
              <a:t>Final dataset size: 59 Rows X 3 Column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5CE80ED-FEE1-492A-BB98-ECEE4CF9F9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47C1C1-E03C-4710-B8F6-102B1D3AFD6F}" type="slidenum">
              <a:rPr lang="en-GB" smtClean="0"/>
              <a:t>7</a:t>
            </a:fld>
            <a:r>
              <a:rPr lang="en-GB" dirty="0"/>
              <a:t>/15</a:t>
            </a:r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8E9B4A4F-1A0D-40AB-AF24-17CF3ADED6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44075" y="-146580"/>
            <a:ext cx="2838450" cy="15769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2D481094-0651-4863-BB32-A0D5C0230A5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74458" y="2680399"/>
            <a:ext cx="4171041" cy="2534710"/>
          </a:xfrm>
          <a:prstGeom prst="rect">
            <a:avLst/>
          </a:prstGeom>
        </p:spPr>
      </p:pic>
      <p:sp>
        <p:nvSpPr>
          <p:cNvPr id="13" name="Slide Number Placeholder 3">
            <a:extLst>
              <a:ext uri="{FF2B5EF4-FFF2-40B4-BE49-F238E27FC236}">
                <a16:creationId xmlns:a16="http://schemas.microsoft.com/office/drawing/2014/main" id="{5F6BF0A1-8ADF-4972-9230-5CD1A7E9D28B}"/>
              </a:ext>
            </a:extLst>
          </p:cNvPr>
          <p:cNvSpPr txBox="1">
            <a:spLocks/>
          </p:cNvSpPr>
          <p:nvPr/>
        </p:nvSpPr>
        <p:spPr>
          <a:xfrm>
            <a:off x="-318782" y="6356349"/>
            <a:ext cx="201335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ANL488 Presentation</a:t>
            </a:r>
          </a:p>
        </p:txBody>
      </p:sp>
    </p:spTree>
    <p:extLst>
      <p:ext uri="{BB962C8B-B14F-4D97-AF65-F5344CB8AC3E}">
        <p14:creationId xmlns:p14="http://schemas.microsoft.com/office/powerpoint/2010/main" val="33218183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15DA40-AD51-4C05-A34B-7F1EFBDBD6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400" dirty="0"/>
              <a:t>Model - LSTM</a:t>
            </a:r>
            <a:endParaRPr lang="en-GB" sz="24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B8B3019-CF31-473E-8D78-9D7021C50E7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514350" indent="-514350">
              <a:buFont typeface="+mj-lt"/>
              <a:buAutoNum type="arabicPeriod"/>
            </a:pPr>
            <a:r>
              <a:rPr lang="en-US" sz="2000" dirty="0"/>
              <a:t>Normalize values</a:t>
            </a:r>
          </a:p>
          <a:p>
            <a:pPr marL="514350" indent="-514350">
              <a:buFont typeface="+mj-lt"/>
              <a:buAutoNum type="arabicPeriod"/>
            </a:pPr>
            <a:r>
              <a:rPr lang="en-US" sz="2000" dirty="0"/>
              <a:t>Shape data to fit model</a:t>
            </a:r>
          </a:p>
          <a:p>
            <a:pPr marL="514350" indent="-514350">
              <a:buFont typeface="+mj-lt"/>
              <a:buAutoNum type="arabicPeriod"/>
            </a:pPr>
            <a:r>
              <a:rPr lang="en-US" sz="2000" dirty="0"/>
              <a:t>Train model / Predict</a:t>
            </a:r>
          </a:p>
          <a:p>
            <a:pPr marL="514350" indent="-514350">
              <a:buFont typeface="+mj-lt"/>
              <a:buAutoNum type="arabicPeriod"/>
            </a:pPr>
            <a:r>
              <a:rPr lang="en-GB" sz="2000" dirty="0"/>
              <a:t>Inverse values back to original and plot</a:t>
            </a:r>
          </a:p>
          <a:p>
            <a:pPr marL="0" indent="0">
              <a:buNone/>
            </a:pPr>
            <a:endParaRPr lang="en-GB" sz="20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478F23-86CA-494C-99FC-F54C00CD5D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47C1C1-E03C-4710-B8F6-102B1D3AFD6F}" type="slidenum">
              <a:rPr lang="en-GB" smtClean="0"/>
              <a:t>8</a:t>
            </a:fld>
            <a:r>
              <a:rPr lang="en-GB" dirty="0"/>
              <a:t>/15</a:t>
            </a:r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4248B6CF-3026-4263-AD97-865D3F53A98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44075" y="-146580"/>
            <a:ext cx="2838450" cy="15769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6F28815E-8862-4687-B3DC-88B27D418EF5}"/>
              </a:ext>
            </a:extLst>
          </p:cNvPr>
          <p:cNvSpPr txBox="1">
            <a:spLocks/>
          </p:cNvSpPr>
          <p:nvPr/>
        </p:nvSpPr>
        <p:spPr>
          <a:xfrm>
            <a:off x="-318782" y="6356349"/>
            <a:ext cx="201335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ANL488 Presentation</a:t>
            </a:r>
          </a:p>
        </p:txBody>
      </p:sp>
    </p:spTree>
    <p:extLst>
      <p:ext uri="{BB962C8B-B14F-4D97-AF65-F5344CB8AC3E}">
        <p14:creationId xmlns:p14="http://schemas.microsoft.com/office/powerpoint/2010/main" val="20529604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C09990-F6F1-4EF6-99C6-806C1D5820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400" dirty="0"/>
              <a:t>Model – Normalize and Shape</a:t>
            </a:r>
            <a:endParaRPr lang="en-GB" sz="24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21A28CE-A7B7-49F4-85A8-624E362A1E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47C1C1-E03C-4710-B8F6-102B1D3AFD6F}" type="slidenum">
              <a:rPr lang="en-GB" smtClean="0"/>
              <a:t>9</a:t>
            </a:fld>
            <a:r>
              <a:rPr lang="en-GB" dirty="0"/>
              <a:t>/15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4BF4E29-6A9A-4C78-BE39-44A412A8B59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0" y="2915257"/>
            <a:ext cx="4630945" cy="2587186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FBCB4EB8-BDE7-4BC2-AF21-97D91835B35B}"/>
              </a:ext>
            </a:extLst>
          </p:cNvPr>
          <p:cNvSpPr txBox="1"/>
          <p:nvPr/>
        </p:nvSpPr>
        <p:spPr>
          <a:xfrm>
            <a:off x="1796716" y="2261938"/>
            <a:ext cx="203126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/>
              <a:t>1) Normalize data</a:t>
            </a:r>
            <a:endParaRPr lang="en-GB" sz="200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76FAC01-CBDA-4979-A162-2030654534B6}"/>
              </a:ext>
            </a:extLst>
          </p:cNvPr>
          <p:cNvSpPr txBox="1"/>
          <p:nvPr/>
        </p:nvSpPr>
        <p:spPr>
          <a:xfrm>
            <a:off x="8494295" y="2261937"/>
            <a:ext cx="161063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/>
              <a:t>2) Shape data</a:t>
            </a:r>
            <a:endParaRPr lang="en-GB" sz="2000" dirty="0"/>
          </a:p>
        </p:txBody>
      </p:sp>
      <p:graphicFrame>
        <p:nvGraphicFramePr>
          <p:cNvPr id="9" name="Table 9">
            <a:extLst>
              <a:ext uri="{FF2B5EF4-FFF2-40B4-BE49-F238E27FC236}">
                <a16:creationId xmlns:a16="http://schemas.microsoft.com/office/drawing/2014/main" id="{471921C3-A482-4CA5-B361-99A7A31F620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85388432"/>
              </p:ext>
            </p:extLst>
          </p:nvPr>
        </p:nvGraphicFramePr>
        <p:xfrm>
          <a:off x="7411453" y="3057071"/>
          <a:ext cx="3942345" cy="2222826"/>
        </p:xfrm>
        <a:graphic>
          <a:graphicData uri="http://schemas.openxmlformats.org/drawingml/2006/table">
            <a:tbl>
              <a:tblPr firstRow="1" bandRow="1">
                <a:tableStyleId>{10A1B5D5-9B99-4C35-A422-299274C87663}</a:tableStyleId>
              </a:tblPr>
              <a:tblGrid>
                <a:gridCol w="449179">
                  <a:extLst>
                    <a:ext uri="{9D8B030D-6E8A-4147-A177-3AD203B41FA5}">
                      <a16:colId xmlns:a16="http://schemas.microsoft.com/office/drawing/2014/main" val="4013253318"/>
                    </a:ext>
                  </a:extLst>
                </a:gridCol>
                <a:gridCol w="564680">
                  <a:extLst>
                    <a:ext uri="{9D8B030D-6E8A-4147-A177-3AD203B41FA5}">
                      <a16:colId xmlns:a16="http://schemas.microsoft.com/office/drawing/2014/main" val="892878425"/>
                    </a:ext>
                  </a:extLst>
                </a:gridCol>
                <a:gridCol w="526183">
                  <a:extLst>
                    <a:ext uri="{9D8B030D-6E8A-4147-A177-3AD203B41FA5}">
                      <a16:colId xmlns:a16="http://schemas.microsoft.com/office/drawing/2014/main" val="1010917551"/>
                    </a:ext>
                  </a:extLst>
                </a:gridCol>
                <a:gridCol w="673768">
                  <a:extLst>
                    <a:ext uri="{9D8B030D-6E8A-4147-A177-3AD203B41FA5}">
                      <a16:colId xmlns:a16="http://schemas.microsoft.com/office/drawing/2014/main" val="359717019"/>
                    </a:ext>
                  </a:extLst>
                </a:gridCol>
                <a:gridCol w="616931">
                  <a:extLst>
                    <a:ext uri="{9D8B030D-6E8A-4147-A177-3AD203B41FA5}">
                      <a16:colId xmlns:a16="http://schemas.microsoft.com/office/drawing/2014/main" val="296703574"/>
                    </a:ext>
                  </a:extLst>
                </a:gridCol>
                <a:gridCol w="1111604">
                  <a:extLst>
                    <a:ext uri="{9D8B030D-6E8A-4147-A177-3AD203B41FA5}">
                      <a16:colId xmlns:a16="http://schemas.microsoft.com/office/drawing/2014/main" val="37561013"/>
                    </a:ext>
                  </a:extLst>
                </a:gridCol>
              </a:tblGrid>
              <a:tr h="488234">
                <a:tc gridSpan="5"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Predictor</a:t>
                      </a:r>
                      <a:endParaRPr lang="en-GB" sz="1400" dirty="0"/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Predicted</a:t>
                      </a:r>
                      <a:endParaRPr lang="en-GB" sz="1400" dirty="0"/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92945668"/>
                  </a:ext>
                </a:extLst>
              </a:tr>
              <a:tr h="499189">
                <a:tc>
                  <a:txBody>
                    <a:bodyPr/>
                    <a:lstStyle/>
                    <a:p>
                      <a:r>
                        <a:rPr lang="en-US" sz="1400" dirty="0"/>
                        <a:t>1</a:t>
                      </a:r>
                      <a:endParaRPr lang="en-GB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2</a:t>
                      </a:r>
                      <a:endParaRPr lang="en-GB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3</a:t>
                      </a:r>
                      <a:endParaRPr lang="en-GB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4</a:t>
                      </a:r>
                      <a:endParaRPr lang="en-GB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5</a:t>
                      </a:r>
                      <a:endParaRPr lang="en-GB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/>
                        <a:t>6</a:t>
                      </a:r>
                      <a:endParaRPr lang="en-GB" sz="14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10015105"/>
                  </a:ext>
                </a:extLst>
              </a:tr>
              <a:tr h="411801">
                <a:tc>
                  <a:txBody>
                    <a:bodyPr/>
                    <a:lstStyle/>
                    <a:p>
                      <a:r>
                        <a:rPr lang="en-US" sz="1400" dirty="0"/>
                        <a:t>2</a:t>
                      </a:r>
                      <a:endParaRPr lang="en-GB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3</a:t>
                      </a:r>
                      <a:endParaRPr lang="en-GB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4</a:t>
                      </a:r>
                      <a:endParaRPr lang="en-GB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5</a:t>
                      </a:r>
                      <a:endParaRPr lang="en-GB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6</a:t>
                      </a:r>
                      <a:endParaRPr lang="en-GB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/>
                        <a:t>7</a:t>
                      </a:r>
                      <a:endParaRPr lang="en-GB" sz="14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06615809"/>
                  </a:ext>
                </a:extLst>
              </a:tr>
              <a:tr h="411801">
                <a:tc>
                  <a:txBody>
                    <a:bodyPr/>
                    <a:lstStyle/>
                    <a:p>
                      <a:r>
                        <a:rPr lang="en-US" sz="1400" dirty="0"/>
                        <a:t>3</a:t>
                      </a:r>
                      <a:endParaRPr lang="en-GB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4</a:t>
                      </a:r>
                      <a:endParaRPr lang="en-GB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5</a:t>
                      </a:r>
                      <a:endParaRPr lang="en-GB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6</a:t>
                      </a:r>
                      <a:endParaRPr lang="en-GB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7</a:t>
                      </a:r>
                      <a:endParaRPr lang="en-GB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/>
                        <a:t>8</a:t>
                      </a:r>
                      <a:endParaRPr lang="en-GB" sz="14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94895425"/>
                  </a:ext>
                </a:extLst>
              </a:tr>
              <a:tr h="411801">
                <a:tc>
                  <a:txBody>
                    <a:bodyPr/>
                    <a:lstStyle/>
                    <a:p>
                      <a:r>
                        <a:rPr lang="en-US" sz="1400" dirty="0"/>
                        <a:t>4</a:t>
                      </a:r>
                      <a:endParaRPr lang="en-GB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5</a:t>
                      </a:r>
                      <a:endParaRPr lang="en-GB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6</a:t>
                      </a:r>
                      <a:endParaRPr lang="en-GB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7</a:t>
                      </a:r>
                      <a:endParaRPr lang="en-GB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8</a:t>
                      </a:r>
                      <a:endParaRPr lang="en-GB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/>
                        <a:t>9</a:t>
                      </a:r>
                      <a:endParaRPr lang="en-GB" sz="14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97339114"/>
                  </a:ext>
                </a:extLst>
              </a:tr>
            </a:tbl>
          </a:graphicData>
        </a:graphic>
      </p:graphicFrame>
      <p:sp>
        <p:nvSpPr>
          <p:cNvPr id="10" name="Arrow: Right 9">
            <a:extLst>
              <a:ext uri="{FF2B5EF4-FFF2-40B4-BE49-F238E27FC236}">
                <a16:creationId xmlns:a16="http://schemas.microsoft.com/office/drawing/2014/main" id="{C570A169-4868-40FE-A471-BED7560F62E3}"/>
              </a:ext>
            </a:extLst>
          </p:cNvPr>
          <p:cNvSpPr/>
          <p:nvPr/>
        </p:nvSpPr>
        <p:spPr>
          <a:xfrm>
            <a:off x="5967663" y="3898232"/>
            <a:ext cx="914400" cy="561473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7A582654-CB9B-44FA-90E1-0A790416FA53}"/>
              </a:ext>
            </a:extLst>
          </p:cNvPr>
          <p:cNvSpPr txBox="1">
            <a:spLocks/>
          </p:cNvSpPr>
          <p:nvPr/>
        </p:nvSpPr>
        <p:spPr>
          <a:xfrm>
            <a:off x="-318782" y="6356349"/>
            <a:ext cx="201335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ANL488 Presentation</a:t>
            </a:r>
          </a:p>
        </p:txBody>
      </p:sp>
    </p:spTree>
    <p:extLst>
      <p:ext uri="{BB962C8B-B14F-4D97-AF65-F5344CB8AC3E}">
        <p14:creationId xmlns:p14="http://schemas.microsoft.com/office/powerpoint/2010/main" val="329640792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071</TotalTime>
  <Words>410</Words>
  <Application>Microsoft Office PowerPoint</Application>
  <PresentationFormat>Widescreen</PresentationFormat>
  <Paragraphs>156</Paragraphs>
  <Slides>1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0" baseType="lpstr">
      <vt:lpstr>Arial</vt:lpstr>
      <vt:lpstr>Calibri</vt:lpstr>
      <vt:lpstr>Calibri Light</vt:lpstr>
      <vt:lpstr>Office Theme</vt:lpstr>
      <vt:lpstr>think-cell Slide</vt:lpstr>
      <vt:lpstr>ANL488 Presentation</vt:lpstr>
      <vt:lpstr>Introduction</vt:lpstr>
      <vt:lpstr>Data Understanding </vt:lpstr>
      <vt:lpstr>Data Preparation – Chosen variables</vt:lpstr>
      <vt:lpstr>Data Preparation – Missing values</vt:lpstr>
      <vt:lpstr>Data Preparation – Missing values</vt:lpstr>
      <vt:lpstr>Data Preparation – Final Dataset  </vt:lpstr>
      <vt:lpstr>Model - LSTM</vt:lpstr>
      <vt:lpstr>Model – Normalize and Shape</vt:lpstr>
      <vt:lpstr>Model - Training</vt:lpstr>
      <vt:lpstr>Model - Training</vt:lpstr>
      <vt:lpstr>Model – Inverse and plot</vt:lpstr>
      <vt:lpstr>Model – Inverse and plot</vt:lpstr>
      <vt:lpstr>Model – Inverse and plot</vt:lpstr>
      <vt:lpstr>Future Work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L488 Presentation</dc:title>
  <dc:creator>Guo Hao Alvin Chen</dc:creator>
  <cp:lastModifiedBy># LIM TZE YUAN BRYAN (UC-FT)</cp:lastModifiedBy>
  <cp:revision>16</cp:revision>
  <dcterms:created xsi:type="dcterms:W3CDTF">2022-09-03T09:54:32Z</dcterms:created>
  <dcterms:modified xsi:type="dcterms:W3CDTF">2022-09-19T11:08:11Z</dcterms:modified>
</cp:coreProperties>
</file>